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76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ntal BONO | Studia Ingénierie" userId="69b0b433-6b0c-431e-be5c-d65239c24e11" providerId="ADAL" clId="{4D637EE4-5E7B-435E-AF18-D0ABC1CBD84D}"/>
    <pc:docChg chg="modSld">
      <pc:chgData name="Chantal BONO | Studia Ingénierie" userId="69b0b433-6b0c-431e-be5c-d65239c24e11" providerId="ADAL" clId="{4D637EE4-5E7B-435E-AF18-D0ABC1CBD84D}" dt="2020-03-19T11:02:33.047" v="9" actId="1036"/>
      <pc:docMkLst>
        <pc:docMk/>
      </pc:docMkLst>
      <pc:sldChg chg="modSp">
        <pc:chgData name="Chantal BONO | Studia Ingénierie" userId="69b0b433-6b0c-431e-be5c-d65239c24e11" providerId="ADAL" clId="{4D637EE4-5E7B-435E-AF18-D0ABC1CBD84D}" dt="2020-03-19T11:02:33.047" v="9" actId="1036"/>
        <pc:sldMkLst>
          <pc:docMk/>
          <pc:sldMk cId="2369487437" sldId="376"/>
        </pc:sldMkLst>
        <pc:picChg chg="mod">
          <ac:chgData name="Chantal BONO | Studia Ingénierie" userId="69b0b433-6b0c-431e-be5c-d65239c24e11" providerId="ADAL" clId="{4D637EE4-5E7B-435E-AF18-D0ABC1CBD84D}" dt="2020-03-19T11:02:33.047" v="9" actId="1036"/>
          <ac:picMkLst>
            <pc:docMk/>
            <pc:sldMk cId="2369487437" sldId="376"/>
            <ac:picMk id="32" creationId="{C1583A71-D16E-4145-9D48-586D46B34611}"/>
          </ac:picMkLst>
        </pc:picChg>
      </pc:sldChg>
    </pc:docChg>
  </pc:docChgLst>
  <pc:docChgLst>
    <pc:chgData name="Maria PETTERSSON | Studia Ingénierie" userId="78942985-7c7f-45cd-9240-8ec9f4102ab7" providerId="ADAL" clId="{FFCE5BB3-0C6E-4DA5-A0EF-C924A33A9214}"/>
    <pc:docChg chg="modSld">
      <pc:chgData name="Maria PETTERSSON | Studia Ingénierie" userId="78942985-7c7f-45cd-9240-8ec9f4102ab7" providerId="ADAL" clId="{FFCE5BB3-0C6E-4DA5-A0EF-C924A33A9214}" dt="2020-03-18T09:14:42.033" v="11" actId="1035"/>
      <pc:docMkLst>
        <pc:docMk/>
      </pc:docMkLst>
      <pc:sldChg chg="modSp mod">
        <pc:chgData name="Maria PETTERSSON | Studia Ingénierie" userId="78942985-7c7f-45cd-9240-8ec9f4102ab7" providerId="ADAL" clId="{FFCE5BB3-0C6E-4DA5-A0EF-C924A33A9214}" dt="2020-03-18T09:14:42.033" v="11" actId="1035"/>
        <pc:sldMkLst>
          <pc:docMk/>
          <pc:sldMk cId="2369487437" sldId="376"/>
        </pc:sldMkLst>
        <pc:spChg chg="mod">
          <ac:chgData name="Maria PETTERSSON | Studia Ingénierie" userId="78942985-7c7f-45cd-9240-8ec9f4102ab7" providerId="ADAL" clId="{FFCE5BB3-0C6E-4DA5-A0EF-C924A33A9214}" dt="2020-03-18T09:14:42.033" v="11" actId="1035"/>
          <ac:spMkLst>
            <pc:docMk/>
            <pc:sldMk cId="2369487437" sldId="376"/>
            <ac:spMk id="9" creationId="{CF44C1F8-6FC3-4515-B08E-1A90733BAFE7}"/>
          </ac:spMkLst>
        </pc:spChg>
        <pc:picChg chg="mod">
          <ac:chgData name="Maria PETTERSSON | Studia Ingénierie" userId="78942985-7c7f-45cd-9240-8ec9f4102ab7" providerId="ADAL" clId="{FFCE5BB3-0C6E-4DA5-A0EF-C924A33A9214}" dt="2020-03-18T09:13:35.853" v="7" actId="1036"/>
          <ac:picMkLst>
            <pc:docMk/>
            <pc:sldMk cId="2369487437" sldId="376"/>
            <ac:picMk id="39" creationId="{6B11E827-1F63-491E-986A-AD2F6753DC4E}"/>
          </ac:picMkLst>
        </pc:picChg>
        <pc:picChg chg="mod">
          <ac:chgData name="Maria PETTERSSON | Studia Ingénierie" userId="78942985-7c7f-45cd-9240-8ec9f4102ab7" providerId="ADAL" clId="{FFCE5BB3-0C6E-4DA5-A0EF-C924A33A9214}" dt="2020-03-18T09:13:29.612" v="5" actId="1036"/>
          <ac:picMkLst>
            <pc:docMk/>
            <pc:sldMk cId="2369487437" sldId="376"/>
            <ac:picMk id="40" creationId="{3C6D4565-1023-4B0B-AF34-FAF590490F46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4/03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4/03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9592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790892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5921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5 – </a:t>
            </a:r>
            <a:r>
              <a:rPr lang="en-US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300 and SF100 Valves Test Bench (Filling Valve Job Rotation Maintenance)</a:t>
            </a: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 March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0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s-ES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VALOR Y VENTAJAS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es-ES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DESCRIPCIÓN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59046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es-ES" dirty="0"/>
              <a:t>Reduzca los costos de mantenimiento y asegure la eficiencia del equipo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es-ES" dirty="0"/>
              <a:t>Banco de pruebas de las válvulas SF300 y SF100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es-ES" sz="800">
                <a:solidFill>
                  <a:srgbClr val="000000"/>
                </a:solidFill>
              </a:rPr>
              <a:t>Valor: Mantenimiento, eficiencia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es-ES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o:</a:t>
            </a:r>
            <a:r>
              <a:rPr lang="es-ES" sz="800">
                <a:solidFill>
                  <a:srgbClr val="000000"/>
                </a:solidFill>
              </a:rPr>
              <a:t> </a:t>
            </a:r>
            <a:r>
              <a:rPr lang="es-ES" sz="80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+mn-cs"/>
              </a:rPr>
              <a:t>SRMB (SF300), SRMC (SF100)</a:t>
            </a:r>
            <a:r>
              <a:rPr lang="es-ES" sz="800">
                <a:solidFill>
                  <a:srgbClr val="000000"/>
                </a:solidFill>
              </a:rPr>
              <a:t> 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es-ES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e catálogo: HS125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3508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200" dirty="0">
                <a:solidFill>
                  <a:srgbClr val="000000"/>
                </a:solidFill>
              </a:rPr>
              <a:t>Mantenimiento y control de las válvulas de llenado sin necesidad de detener la máquina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200" dirty="0">
                <a:solidFill>
                  <a:srgbClr val="000000"/>
                </a:solidFill>
              </a:rPr>
              <a:t>Posibilidad de probar tres válvulas diferentes (aunque no simultáneamente). 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lvl="0" eaLnBrk="0" hangingPunct="0">
              <a:buClr>
                <a:srgbClr val="E64B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21598"/>
            <a:ext cx="3823487" cy="1646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200" spc="-20" dirty="0"/>
              <a:t>Banco de pruebas con bastidor de acero inoxidable, panel de acceso frontal en LEXAN, paneles extraíbles de acero inoxidable y fácil acceso a la zona de trabajo.</a:t>
            </a:r>
          </a:p>
          <a:p>
            <a:pPr marL="182563" lvl="0" indent="-182563" algn="just" eaLnBrk="0" hangingPunct="0">
              <a:spcBef>
                <a:spcPts val="55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200" spc="-20" dirty="0"/>
              <a:t>Banco que permite extraer velozmente las válvulas de llenado a prueba y garantiza un cómodo acceso para el mantenimiento y conexiones rápidas a los circuitos de tuberías mediante abrazaderas</a:t>
            </a:r>
            <a:r>
              <a:rPr lang="es-ES" sz="1200" dirty="0"/>
              <a:t>.</a:t>
            </a:r>
          </a:p>
        </p:txBody>
      </p:sp>
      <p:sp>
        <p:nvSpPr>
          <p:cNvPr id="16" name="CasellaDiTesto 15"/>
          <p:cNvSpPr txBox="1"/>
          <p:nvPr/>
        </p:nvSpPr>
        <p:spPr>
          <a:xfrm>
            <a:off x="913606" y="5568528"/>
            <a:ext cx="1742035" cy="1915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s-ES" sz="1000" b="1">
                <a:solidFill>
                  <a:schemeClr val="folHlink"/>
                </a:solidFill>
              </a:rPr>
              <a:t>Dimensiones generales</a:t>
            </a:r>
          </a:p>
        </p:txBody>
      </p:sp>
      <p:pic>
        <p:nvPicPr>
          <p:cNvPr id="31" name="Immagine 23">
            <a:extLst>
              <a:ext uri="{FF2B5EF4-FFF2-40B4-BE49-F238E27FC236}">
                <a16:creationId xmlns:a16="http://schemas.microsoft.com/office/drawing/2014/main" id="{0604FB30-2379-457B-9258-824D90F84B5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06" y="3630515"/>
            <a:ext cx="1742035" cy="187138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Immagine 24">
            <a:extLst>
              <a:ext uri="{FF2B5EF4-FFF2-40B4-BE49-F238E27FC236}">
                <a16:creationId xmlns:a16="http://schemas.microsoft.com/office/drawing/2014/main" id="{C1583A71-D16E-4145-9D48-586D46B346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8687" y="3118036"/>
            <a:ext cx="1480593" cy="16856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7" name="Connettore 2 36">
            <a:extLst>
              <a:ext uri="{FF2B5EF4-FFF2-40B4-BE49-F238E27FC236}">
                <a16:creationId xmlns:a16="http://schemas.microsoft.com/office/drawing/2014/main" id="{A6C7A041-05C3-41E3-9BAC-8A9E97FE56BC}"/>
              </a:ext>
            </a:extLst>
          </p:cNvPr>
          <p:cNvCxnSpPr>
            <a:cxnSpLocks/>
          </p:cNvCxnSpPr>
          <p:nvPr/>
        </p:nvCxnSpPr>
        <p:spPr>
          <a:xfrm flipV="1">
            <a:off x="2512901" y="4105609"/>
            <a:ext cx="625587" cy="29970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B50F60E5-C501-459B-B5AF-1908B944A54E}"/>
              </a:ext>
            </a:extLst>
          </p:cNvPr>
          <p:cNvSpPr txBox="1"/>
          <p:nvPr/>
        </p:nvSpPr>
        <p:spPr>
          <a:xfrm>
            <a:off x="5134489" y="5576444"/>
            <a:ext cx="3223708" cy="1915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s-ES" sz="1000" b="1">
                <a:solidFill>
                  <a:schemeClr val="folHlink"/>
                </a:solidFill>
              </a:rPr>
              <a:t>Vista frontal y trasera del banco de pruebas</a:t>
            </a:r>
          </a:p>
        </p:txBody>
      </p:sp>
      <p:pic>
        <p:nvPicPr>
          <p:cNvPr id="39" name="Immagine 41">
            <a:extLst>
              <a:ext uri="{FF2B5EF4-FFF2-40B4-BE49-F238E27FC236}">
                <a16:creationId xmlns:a16="http://schemas.microsoft.com/office/drawing/2014/main" id="{6B11E827-1F63-491E-986A-AD2F6753DC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08" t="1781" r="26979" b="5899"/>
          <a:stretch>
            <a:fillRect/>
          </a:stretch>
        </p:blipFill>
        <p:spPr bwMode="auto">
          <a:xfrm>
            <a:off x="5208704" y="3867285"/>
            <a:ext cx="1223729" cy="1680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Immagine 4">
            <a:extLst>
              <a:ext uri="{FF2B5EF4-FFF2-40B4-BE49-F238E27FC236}">
                <a16:creationId xmlns:a16="http://schemas.microsoft.com/office/drawing/2014/main" id="{3C6D4565-1023-4B0B-AF34-FAF590490F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87" t="2800" r="35043" b="6203"/>
          <a:stretch>
            <a:fillRect/>
          </a:stretch>
        </p:blipFill>
        <p:spPr bwMode="auto">
          <a:xfrm>
            <a:off x="6948165" y="3896933"/>
            <a:ext cx="1293140" cy="1650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CasellaDiTesto 40">
            <a:extLst>
              <a:ext uri="{FF2B5EF4-FFF2-40B4-BE49-F238E27FC236}">
                <a16:creationId xmlns:a16="http://schemas.microsoft.com/office/drawing/2014/main" id="{08B755D3-04BA-4CED-A780-E1090A648E09}"/>
              </a:ext>
            </a:extLst>
          </p:cNvPr>
          <p:cNvSpPr txBox="1"/>
          <p:nvPr/>
        </p:nvSpPr>
        <p:spPr>
          <a:xfrm>
            <a:off x="3123076" y="4832804"/>
            <a:ext cx="1190792" cy="1915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s-ES" sz="1000" b="1">
                <a:solidFill>
                  <a:schemeClr val="folHlink"/>
                </a:solidFill>
              </a:rPr>
              <a:t>Conexiones</a:t>
            </a:r>
          </a:p>
        </p:txBody>
      </p:sp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9C9FFE1-B631-4A8C-A7A7-1DA732BBA565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BB14123-F1A5-4707-8FED-B90C5ADB378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EBDE12E-6A3E-4357-BE9A-822640097B8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1191c-8472-4eb5-a739-69bdbf5e66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</TotalTime>
  <Words>141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SimSun</vt:lpstr>
      <vt:lpstr>Arial</vt:lpstr>
      <vt:lpstr>Wingdings</vt:lpstr>
      <vt:lpstr>NewSidel_Template_4x3_with add layouts</vt:lpstr>
      <vt:lpstr>think-cell Folie</vt:lpstr>
      <vt:lpstr>Reduzca los costos de mantenimiento y asegure la eficiencia del equip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22</cp:revision>
  <dcterms:created xsi:type="dcterms:W3CDTF">2018-02-10T17:04:39Z</dcterms:created>
  <dcterms:modified xsi:type="dcterms:W3CDTF">2020-03-24T16:0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39:08.9836839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  <property fmtid="{D5CDD505-2E9C-101B-9397-08002B2CF9AE}" pid="26" name="ContentTypeId">
    <vt:lpwstr>0x01010048C1934A45FF5D4B8D5F4B18333E543F</vt:lpwstr>
  </property>
</Properties>
</file>